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xlsb" ContentType="application/vnd.ms-excel.sheet.binary.macroEnabled.12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07.xml" ContentType="application/vnd.openxmlformats-officedocument.presentationml.slide+xml"/>
  <Override PartName="/ppt/tags/tag1114.xml" ContentType="application/vnd.openxmlformats-officedocument.presentationml.tags+xml"/>
  <Override PartName="/ppt/tags/tag1119.xml" ContentType="application/vnd.openxmlformats-officedocument.presentationml.tags+xml"/>
  <Override PartName="/ppt/tags/tag1109.xml" ContentType="application/vnd.openxmlformats-officedocument.presentationml.tags+xml"/>
  <Override PartName="/ppt/tags/tag1113.xml" ContentType="application/vnd.openxmlformats-officedocument.presentationml.tags+xml"/>
  <Override PartName="/ppt/tags/tag1118.xml" ContentType="application/vnd.openxmlformats-officedocument.presentationml.tags+xml"/>
  <Override PartName="/ppt/tags/tag1108.xml" ContentType="application/vnd.openxmlformats-officedocument.presentationml.tags+xml"/>
  <Override PartName="/ppt/notesSlides/notesSlide20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charts/chart41.xml" ContentType="application/vnd.openxmlformats-officedocument.drawingml.chart+xml"/>
  <Override PartName="/ppt/tags/tag1112.xml" ContentType="application/vnd.openxmlformats-officedocument.presentationml.tags+xml"/>
  <Override PartName="/ppt/tags/tag1117.xml" ContentType="application/vnd.openxmlformats-officedocument.presentationml.tags+xml"/>
  <Override PartName="/ppt/tags/tag111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116.xml" ContentType="application/vnd.openxmlformats-officedocument.presentationml.tags+xml"/>
  <Override PartName="/ppt/charts/chart40.xml" ContentType="application/vnd.openxmlformats-officedocument.drawingml.chart+xml"/>
  <Override PartName="/ppt/tags/tag1110.xml" ContentType="application/vnd.openxmlformats-officedocument.presentationml.tags+xml"/>
  <Override PartName="/ppt/tags/tag1115.xml" ContentType="application/vnd.openxmlformats-officedocument.presentationml.tags+xml"/>
  <Override PartName="/ppt/tags/tag1120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6" r:id="rId21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07.xml" Id="rId210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40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9.xlsb" Id="rId1" /></Relationships>
</file>

<file path=ppt/charts/_rels/chart4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0.xlsb" Id="rId1" /></Relationships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875114784205693E-2"/>
          <c:y val="6.8707725169099329E-2"/>
          <c:w val="0.88337924701561066"/>
          <c:h val="0.862584549661801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5215794306703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D3-42BE-BC1D-B53A6BE03055}"/>
                </c:ext>
              </c:extLst>
            </c:dLbl>
            <c:dLbl>
              <c:idx val="1"/>
              <c:layout>
                <c:manualLayout>
                  <c:x val="0.4182736455463728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D3-42BE-BC1D-B53A6BE03055}"/>
                </c:ext>
              </c:extLst>
            </c:dLbl>
            <c:dLbl>
              <c:idx val="2"/>
              <c:layout>
                <c:manualLayout>
                  <c:x val="0.3709825528007346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5D3-42BE-BC1D-B53A6BE03055}"/>
                </c:ext>
              </c:extLst>
            </c:dLbl>
            <c:dLbl>
              <c:idx val="3"/>
              <c:layout>
                <c:manualLayout>
                  <c:x val="0.3213957759412304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D3-42BE-BC1D-B53A6BE03055}"/>
                </c:ext>
              </c:extLst>
            </c:dLbl>
            <c:dLbl>
              <c:idx val="4"/>
              <c:layout>
                <c:manualLayout>
                  <c:x val="0.2883379247015610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5D3-42BE-BC1D-B53A6BE03055}"/>
                </c:ext>
              </c:extLst>
            </c:dLbl>
            <c:dLbl>
              <c:idx val="5"/>
              <c:layout>
                <c:manualLayout>
                  <c:x val="0.2052341597796143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D3-42BE-BC1D-B53A6BE03055}"/>
                </c:ext>
              </c:extLst>
            </c:dLbl>
            <c:dLbl>
              <c:idx val="6"/>
              <c:layout>
                <c:manualLayout>
                  <c:x val="0.1703397612488521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5D3-42BE-BC1D-B53A6BE03055}"/>
                </c:ext>
              </c:extLst>
            </c:dLbl>
            <c:dLbl>
              <c:idx val="7"/>
              <c:layout>
                <c:manualLayout>
                  <c:x val="9.6877869605142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5D3-42BE-BC1D-B53A6BE030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5</c:v>
                </c:pt>
                <c:pt idx="1">
                  <c:v>81</c:v>
                </c:pt>
                <c:pt idx="2">
                  <c:v>70</c:v>
                </c:pt>
                <c:pt idx="3">
                  <c:v>59</c:v>
                </c:pt>
                <c:pt idx="4">
                  <c:v>52</c:v>
                </c:pt>
                <c:pt idx="5">
                  <c:v>34</c:v>
                </c:pt>
                <c:pt idx="6">
                  <c:v>27</c:v>
                </c:pt>
                <c:pt idx="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5D3-42BE-BC1D-B53A6BE03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341584"/>
        <c:axId val="1"/>
      </c:barChart>
      <c:catAx>
        <c:axId val="337341584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3734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761463640574339E-2"/>
          <c:y val="6.8707725169099329E-2"/>
          <c:w val="0.89115331171838819"/>
          <c:h val="0.862584549661801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6521537748957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58-4CF5-91FA-7BBF14B7A69C}"/>
                </c:ext>
              </c:extLst>
            </c:dLbl>
            <c:dLbl>
              <c:idx val="1"/>
              <c:layout>
                <c:manualLayout>
                  <c:x val="0.4326076887447892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58-4CF5-91FA-7BBF14B7A69C}"/>
                </c:ext>
              </c:extLst>
            </c:dLbl>
            <c:dLbl>
              <c:idx val="2"/>
              <c:layout>
                <c:manualLayout>
                  <c:x val="0.3872163038443723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58-4CF5-91FA-7BBF14B7A69C}"/>
                </c:ext>
              </c:extLst>
            </c:dLbl>
            <c:dLbl>
              <c:idx val="3"/>
              <c:layout>
                <c:manualLayout>
                  <c:x val="0.3293191292264937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58-4CF5-91FA-7BBF14B7A69C}"/>
                </c:ext>
              </c:extLst>
            </c:dLbl>
            <c:dLbl>
              <c:idx val="4"/>
              <c:layout>
                <c:manualLayout>
                  <c:x val="0.2913385826771653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58-4CF5-91FA-7BBF14B7A69C}"/>
                </c:ext>
              </c:extLst>
            </c:dLbl>
            <c:dLbl>
              <c:idx val="5"/>
              <c:layout>
                <c:manualLayout>
                  <c:x val="0.249652616952292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58-4CF5-91FA-7BBF14B7A69C}"/>
                </c:ext>
              </c:extLst>
            </c:dLbl>
            <c:dLbl>
              <c:idx val="6"/>
              <c:layout>
                <c:manualLayout>
                  <c:x val="0.1273737841593330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958-4CF5-91FA-7BBF14B7A69C}"/>
                </c:ext>
              </c:extLst>
            </c:dLbl>
            <c:dLbl>
              <c:idx val="7"/>
              <c:layout>
                <c:manualLayout>
                  <c:x val="8.98564150069476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58-4CF5-91FA-7BBF14B7A6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4</c:v>
                </c:pt>
                <c:pt idx="1">
                  <c:v>82</c:v>
                </c:pt>
                <c:pt idx="2">
                  <c:v>73</c:v>
                </c:pt>
                <c:pt idx="3">
                  <c:v>60</c:v>
                </c:pt>
                <c:pt idx="4">
                  <c:v>52</c:v>
                </c:pt>
                <c:pt idx="5">
                  <c:v>43</c:v>
                </c:pt>
                <c:pt idx="6">
                  <c:v>18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958-4CF5-91FA-7BBF14B7A6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0277488"/>
        <c:axId val="1"/>
      </c:barChart>
      <c:catAx>
        <c:axId val="340277488"/>
        <c:scaling>
          <c:orientation val="maxMin"/>
        </c:scaling>
        <c:delete val="1"/>
        <c:axPos val="r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9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4027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7.xml.rels>&#65279;<?xml version="1.0" encoding="utf-8"?><Relationships xmlns="http://schemas.openxmlformats.org/package/2006/relationships"><Relationship Type="http://schemas.openxmlformats.org/officeDocument/2006/relationships/slide" Target="/ppt/slides/slide207.xml" Id="rId2" /><Relationship Type="http://schemas.openxmlformats.org/officeDocument/2006/relationships/notesMaster" Target="/ppt/notesMasters/notesMaster1.xml" Id="rId1" /></Relationships>
</file>

<file path=ppt/notesSlides/notesSlide2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69717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7.xml.rels>&#65279;<?xml version="1.0" encoding="utf-8"?><Relationships xmlns="http://schemas.openxmlformats.org/package/2006/relationships"><Relationship Type="http://schemas.openxmlformats.org/officeDocument/2006/relationships/tags" Target="/ppt/tags/tag1114.xml" Id="rId8" /><Relationship Type="http://schemas.openxmlformats.org/officeDocument/2006/relationships/tags" Target="/ppt/tags/tag1119.xml" Id="rId13" /><Relationship Type="http://schemas.openxmlformats.org/officeDocument/2006/relationships/image" Target="/ppt/media/image4.emf" Id="rId18" /><Relationship Type="http://schemas.openxmlformats.org/officeDocument/2006/relationships/tags" Target="/ppt/tags/tag1109.xml" Id="rId3" /><Relationship Type="http://schemas.openxmlformats.org/officeDocument/2006/relationships/tags" Target="/ppt/tags/tag1113.xml" Id="rId7" /><Relationship Type="http://schemas.openxmlformats.org/officeDocument/2006/relationships/tags" Target="/ppt/tags/tag1118.xml" Id="rId12" /><Relationship Type="http://schemas.openxmlformats.org/officeDocument/2006/relationships/oleObject" Target="/ppt/embeddings/oleObject211.bin" Id="rId17" /><Relationship Type="http://schemas.openxmlformats.org/officeDocument/2006/relationships/tags" Target="/ppt/tags/tag1108.xml" Id="rId2" /><Relationship Type="http://schemas.openxmlformats.org/officeDocument/2006/relationships/notesSlide" Target="/ppt/notesSlides/notesSlide207.xml" Id="rId16" /><Relationship Type="http://schemas.openxmlformats.org/officeDocument/2006/relationships/chart" Target="/ppt/charts/chart41.xml" Id="rId20" /><Relationship Type="http://schemas.openxmlformats.org/officeDocument/2006/relationships/vmlDrawing" Target="/ppt/drawings/vmlDrawing211.vml" Id="rId1" /><Relationship Type="http://schemas.openxmlformats.org/officeDocument/2006/relationships/tags" Target="/ppt/tags/tag1112.xml" Id="rId6" /><Relationship Type="http://schemas.openxmlformats.org/officeDocument/2006/relationships/tags" Target="/ppt/tags/tag1117.xml" Id="rId11" /><Relationship Type="http://schemas.openxmlformats.org/officeDocument/2006/relationships/tags" Target="/ppt/tags/tag1111.xml" Id="rId5" /><Relationship Type="http://schemas.openxmlformats.org/officeDocument/2006/relationships/slideLayout" Target="/ppt/slideLayouts/slideLayout5.xml" Id="rId15" /><Relationship Type="http://schemas.openxmlformats.org/officeDocument/2006/relationships/tags" Target="/ppt/tags/tag1116.xml" Id="rId10" /><Relationship Type="http://schemas.openxmlformats.org/officeDocument/2006/relationships/chart" Target="/ppt/charts/chart40.xml" Id="rId19" /><Relationship Type="http://schemas.openxmlformats.org/officeDocument/2006/relationships/tags" Target="/ppt/tags/tag1110.xml" Id="rId4" /><Relationship Type="http://schemas.openxmlformats.org/officeDocument/2006/relationships/tags" Target="/ppt/tags/tag1115.xml" Id="rId9" /><Relationship Type="http://schemas.openxmlformats.org/officeDocument/2006/relationships/tags" Target="/ppt/tags/tag1120.xml" Id="rId14" /></Relationships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3071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3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tem comparison: Butterfly, tornado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3537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ar, bars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6" name="Chart 3">
            <a:extLst>
              <a:ext uri="{FF2B5EF4-FFF2-40B4-BE49-F238E27FC236}">
                <a16:creationId xmlns:a16="http://schemas.microsoft.com/office/drawing/2014/main" id="{FEF7600C-1227-4898-8430-7B3F1B1E72B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3966554"/>
              </p:ext>
            </p:extLst>
          </p:nvPr>
        </p:nvGraphicFramePr>
        <p:xfrm>
          <a:off x="4765675" y="1905000"/>
          <a:ext cx="3457575" cy="445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54713" y="1851025"/>
            <a:ext cx="842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D6D868-4F3D-4FFF-A05B-7FD3A7A5481A}" type="datetime'P''''''''''r''o''''du''''''ct'''' ''''''''B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duct B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C48B6325-7975-4E1E-9443-FD58020BB4FD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48807485"/>
              </p:ext>
            </p:extLst>
          </p:nvPr>
        </p:nvGraphicFramePr>
        <p:xfrm>
          <a:off x="347663" y="1905000"/>
          <a:ext cx="3427412" cy="445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43075" y="1851025"/>
            <a:ext cx="846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E82231-B69C-4C64-A7C8-72DDD4001D49}" type="datetime'''''P''''''''''r''''''''''''o''''''''d''''''''uc''''''''t'' A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duct A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CECC7935-36E0-36B5-3378-A38A0B05892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10000" y="2344738"/>
            <a:ext cx="960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A2A9619-65E5-4B1F-A3EF-8BDF3ECB3B02}" type="datetime'''''''''''''''''C''''us''''''''tom''''''''er ''''1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9EB1A73F-27FD-89F0-8F3F-9920EB051F6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10000" y="2825750"/>
            <a:ext cx="996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70FE92-D351-4405-8B42-E18C944D47D1}" type="datetime'''C''us''''''''''t''''''o''''m''''''e''''r 2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FE3B1918-62A7-F88E-68A3-2AA6D09253C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10000" y="3306763"/>
            <a:ext cx="995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058450-9A64-4B47-B618-60065FA44F3E}" type="datetime'''C''u''''''s''t''o''''''''''''m''er'''''' ''3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03FC3BFE-9B83-D98E-FD42-F7EAC48419E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810000" y="378777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A85D6C8-8424-4D67-B832-E94EEC752508}" type="datetime'''C''''u''s''''''''to''m''''''''''e''r'''''''''''' ''4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CE345846-2937-EFFD-19D7-CDCAF719472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810000" y="4268788"/>
            <a:ext cx="998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539A6DE-6ABC-4D93-A1E1-3B84916A1F49}" type="datetime'''''''''''Cu''s''''''''''''t''o''''me''''''r ''5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49366C4-84A8-D28E-3023-887F587553E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810000" y="4748213"/>
            <a:ext cx="996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75E2650-FC7A-443B-BB70-5EF13D2C50CE}" type="datetime'''''''''''''C''u''''''s''''tome''''''r'''''''''' ''''6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7E25C7A-3E28-28D4-3F26-F0253D2430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10000" y="5229225"/>
            <a:ext cx="982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CD466CD-A760-4743-873F-4A7C38C0CD6E}" type="datetime'''''''''''''''Cus''''to''''''''''me''''r'''''''' ''''''7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532A385-9202-64D1-532C-A48E2A7A0F0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810000" y="57102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0C6A14F-8462-4764-A08A-860D1EB346F7}" type="datetime'''''''''Cu''''''''s''''t''''''''om''e''''''''r'''''' 8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ustomer 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Rectangle 18">
            <a:extLst>
              <a:ext uri="{FF2B5EF4-FFF2-40B4-BE49-F238E27FC236}">
                <a16:creationId xmlns:a16="http://schemas.microsoft.com/office/drawing/2014/main" id="{29DB7DEB-D384-DEAA-5C04-7D2F684A0AD9}"/>
              </a:ext>
            </a:extLst>
          </p:cNvPr>
          <p:cNvSpPr>
            <a:spLocks/>
          </p:cNvSpPr>
          <p:nvPr/>
        </p:nvSpPr>
        <p:spPr>
          <a:xfrm>
            <a:off x="8811106" y="-621327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</a:t>
            </a:r>
            <a:r>
              <a:rPr lang="en-US" sz="1200" b="1" u="sng" dirty="0">
                <a:solidFill>
                  <a:schemeClr val="tx1"/>
                </a:solidFill>
              </a:rPr>
              <a:t>two think-cell bar charts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 dirty="0">
                <a:solidFill>
                  <a:schemeClr val="tx1"/>
                </a:solidFill>
                <a:cs typeface="Arial"/>
              </a:rPr>
              <a:t>create a butterfly chart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, insert two think-cell stacked bar charts and rotate them in opposite directions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cs typeface="Arial"/>
              </a:rPr>
              <a:t>To ensure both charts have the same scale, select both sets of bars, right-click to open the context menu, and select </a:t>
            </a:r>
            <a:r>
              <a:rPr lang="en-US" sz="1200" b="1" dirty="0">
                <a:solidFill>
                  <a:schemeClr val="tx1"/>
                </a:solidFill>
                <a:cs typeface="Arial"/>
              </a:rPr>
              <a:t>Set Same Scale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608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PY.omX60Sa.7ZfBVaZq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TowMq.ccb2vTGYttPlYw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DI4Df3wCvkr7dAkOnru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2W0DXqcfppiQqKzUYD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854Lk3kt._JqpuItmqO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aiGQMZaYy_9GLknD._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YbXXTWm.4l7z_aHlRs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89I.9W39H_ryLHYWJtB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M108p7QMffWjreeCSzZQ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51LMZH0exHFd3oK_52p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SJqq0S7btjQ3bON9u1w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6VFpqLPi4RmhvMoDn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